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0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33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1D1D1"/>
    <a:srgbClr val="A7A7A7"/>
    <a:srgbClr val="626262"/>
    <a:srgbClr val="5A5A5A"/>
    <a:srgbClr val="727272"/>
    <a:srgbClr val="444444"/>
    <a:srgbClr val="F6F6F6"/>
    <a:srgbClr val="E5E5E5"/>
    <a:srgbClr val="BDBDBD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50" d="100"/>
          <a:sy n="150" d="100"/>
        </p:scale>
        <p:origin x="576" y="120"/>
      </p:cViewPr>
      <p:guideLst>
        <p:guide orient="horz" pos="4133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32E9CE55-D597-471D-9050-4FA1F53477A5}"/>
    <pc:docChg chg="modSld">
      <pc:chgData name="Meyer Raphael (PAR-ES)" userId="79615dfe-ed48-4e74-a40f-4f7b034c1c27" providerId="ADAL" clId="{32E9CE55-D597-471D-9050-4FA1F53477A5}" dt="2022-03-09T16:30:23.837" v="0" actId="692"/>
      <pc:docMkLst>
        <pc:docMk/>
      </pc:docMkLst>
      <pc:sldChg chg="modSp">
        <pc:chgData name="Meyer Raphael (PAR-ES)" userId="79615dfe-ed48-4e74-a40f-4f7b034c1c27" providerId="ADAL" clId="{32E9CE55-D597-471D-9050-4FA1F53477A5}" dt="2022-03-09T16:30:23.837" v="0" actId="692"/>
        <pc:sldMkLst>
          <pc:docMk/>
          <pc:sldMk cId="1183644670" sldId="410"/>
        </pc:sldMkLst>
        <pc:graphicFrameChg chg="mod">
          <ac:chgData name="Meyer Raphael (PAR-ES)" userId="79615dfe-ed48-4e74-a40f-4f7b034c1c27" providerId="ADAL" clId="{32E9CE55-D597-471D-9050-4FA1F53477A5}" dt="2022-03-09T16:30:23.837" v="0" actId="692"/>
          <ac:graphicFrameMkLst>
            <pc:docMk/>
            <pc:sldMk cId="1183644670" sldId="410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F82E127-1ED1-4162-A039-B6321E3D039C}"/>
    <pc:docChg chg="modSld">
      <pc:chgData name="Meyer Raphael (PAR-ES)" userId="79615dfe-ed48-4e74-a40f-4f7b034c1c27" providerId="ADAL" clId="{3F82E127-1ED1-4162-A039-B6321E3D039C}" dt="2022-01-17T14:03:49.595" v="8" actId="20577"/>
      <pc:docMkLst>
        <pc:docMk/>
      </pc:docMkLst>
      <pc:sldChg chg="modSp mod">
        <pc:chgData name="Meyer Raphael (PAR-ES)" userId="79615dfe-ed48-4e74-a40f-4f7b034c1c27" providerId="ADAL" clId="{3F82E127-1ED1-4162-A039-B6321E3D039C}" dt="2022-01-17T14:03:49.595" v="8" actId="20577"/>
        <pc:sldMkLst>
          <pc:docMk/>
          <pc:sldMk cId="179071578" sldId="400"/>
        </pc:sldMkLst>
        <pc:spChg chg="mod">
          <ac:chgData name="Meyer Raphael (PAR-ES)" userId="79615dfe-ed48-4e74-a40f-4f7b034c1c27" providerId="ADAL" clId="{3F82E127-1ED1-4162-A039-B6321E3D039C}" dt="2022-01-17T14:02:36.178" v="2" actId="20577"/>
          <ac:spMkLst>
            <pc:docMk/>
            <pc:sldMk cId="179071578" sldId="40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F82E127-1ED1-4162-A039-B6321E3D039C}" dt="2022-01-17T14:03:49.595" v="8" actId="20577"/>
          <ac:spMkLst>
            <pc:docMk/>
            <pc:sldMk cId="179071578" sldId="400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0BE059E5-9B00-412E-A1C8-3B1900FD7999}"/>
    <pc:docChg chg="addSld delSld">
      <pc:chgData name="Meyer Raphael (PAR-ES)" userId="79615dfe-ed48-4e74-a40f-4f7b034c1c27" providerId="ADAL" clId="{0BE059E5-9B00-412E-A1C8-3B1900FD7999}" dt="2022-01-17T13:59:13.933" v="7" actId="2890"/>
      <pc:docMkLst>
        <pc:docMk/>
      </pc:docMkLst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0BE059E5-9B00-412E-A1C8-3B1900FD7999}" dt="2022-01-17T13:57:24.005" v="0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0BE059E5-9B00-412E-A1C8-3B1900FD7999}" dt="2022-01-17T13:59:04.964" v="4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0BE059E5-9B00-412E-A1C8-3B1900FD7999}" dt="2022-01-17T13:57:24.005" v="0" actId="47"/>
        <pc:sldMkLst>
          <pc:docMk/>
          <pc:sldMk cId="2131180641" sldId="398"/>
        </pc:sldMkLst>
      </pc:sldChg>
      <pc:sldChg chg="add">
        <pc:chgData name="Meyer Raphael (PAR-ES)" userId="79615dfe-ed48-4e74-a40f-4f7b034c1c27" providerId="ADAL" clId="{0BE059E5-9B00-412E-A1C8-3B1900FD7999}" dt="2022-01-17T13:59:12.049" v="5" actId="2890"/>
        <pc:sldMkLst>
          <pc:docMk/>
          <pc:sldMk cId="179071578" sldId="400"/>
        </pc:sldMkLst>
      </pc:sldChg>
      <pc:sldChg chg="add">
        <pc:chgData name="Meyer Raphael (PAR-ES)" userId="79615dfe-ed48-4e74-a40f-4f7b034c1c27" providerId="ADAL" clId="{0BE059E5-9B00-412E-A1C8-3B1900FD7999}" dt="2022-01-17T13:59:13.214" v="6" actId="2890"/>
        <pc:sldMkLst>
          <pc:docMk/>
          <pc:sldMk cId="2084493369" sldId="401"/>
        </pc:sldMkLst>
      </pc:sldChg>
      <pc:sldChg chg="add">
        <pc:chgData name="Meyer Raphael (PAR-ES)" userId="79615dfe-ed48-4e74-a40f-4f7b034c1c27" providerId="ADAL" clId="{0BE059E5-9B00-412E-A1C8-3B1900FD7999}" dt="2022-01-17T13:59:13.933" v="7" actId="2890"/>
        <pc:sldMkLst>
          <pc:docMk/>
          <pc:sldMk cId="1008431792" sldId="402"/>
        </pc:sldMkLst>
      </pc:sldChg>
      <pc:sldMasterChg chg="delSldLayout">
        <pc:chgData name="Meyer Raphael (PAR-ES)" userId="79615dfe-ed48-4e74-a40f-4f7b034c1c27" providerId="ADAL" clId="{0BE059E5-9B00-412E-A1C8-3B1900FD7999}" dt="2022-01-17T13:57:43.341" v="3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0BE059E5-9B00-412E-A1C8-3B1900FD7999}" dt="2022-01-17T13:57:43.341" v="3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6E4AF49B-A06A-4787-92FE-8CB0B1971DCB}"/>
    <pc:docChg chg="delSld">
      <pc:chgData name="Meyer Raphael (PAR-ES)" userId="79615dfe-ed48-4e74-a40f-4f7b034c1c27" providerId="ADAL" clId="{6E4AF49B-A06A-4787-92FE-8CB0B1971DCB}" dt="2022-03-03T14:54:34.669" v="0" actId="47"/>
      <pc:docMkLst>
        <pc:docMk/>
      </pc:docMkLst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179071578" sldId="400"/>
        </pc:sldMkLst>
      </pc:sldChg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2084493369" sldId="401"/>
        </pc:sldMkLst>
      </pc:sldChg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1008431792" sldId="402"/>
        </pc:sldMkLst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88490507-C300-4E72-BD7D-20B830F66540}"/>
    <pc:docChg chg="custSel addSld delSld modSld">
      <pc:chgData name="Meyer Raphael (PAR-ES)" userId="79615dfe-ed48-4e74-a40f-4f7b034c1c27" providerId="ADAL" clId="{88490507-C300-4E72-BD7D-20B830F66540}" dt="2022-03-03T15:47:39.529" v="58"/>
      <pc:docMkLst>
        <pc:docMk/>
      </pc:docMkLst>
      <pc:sldChg chg="delSp modSp del mod">
        <pc:chgData name="Meyer Raphael (PAR-ES)" userId="79615dfe-ed48-4e74-a40f-4f7b034c1c27" providerId="ADAL" clId="{88490507-C300-4E72-BD7D-20B830F66540}" dt="2022-03-03T15:29:25.873" v="10" actId="47"/>
        <pc:sldMkLst>
          <pc:docMk/>
          <pc:sldMk cId="3808035539" sldId="270"/>
        </pc:sldMkLst>
        <pc:spChg chg="del">
          <ac:chgData name="Meyer Raphael (PAR-ES)" userId="79615dfe-ed48-4e74-a40f-4f7b034c1c27" providerId="ADAL" clId="{88490507-C300-4E72-BD7D-20B830F66540}" dt="2022-03-03T15:27:38.217" v="0" actId="478"/>
          <ac:spMkLst>
            <pc:docMk/>
            <pc:sldMk cId="3808035539" sldId="270"/>
            <ac:spMk id="3" creationId="{00000000-0000-0000-0000-000000000000}"/>
          </ac:spMkLst>
        </pc:spChg>
        <pc:graphicFrameChg chg="mod">
          <ac:chgData name="Meyer Raphael (PAR-ES)" userId="79615dfe-ed48-4e74-a40f-4f7b034c1c27" providerId="ADAL" clId="{88490507-C300-4E72-BD7D-20B830F66540}" dt="2022-03-03T15:28:57.747" v="9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del">
        <pc:chgData name="Meyer Raphael (PAR-ES)" userId="79615dfe-ed48-4e74-a40f-4f7b034c1c27" providerId="ADAL" clId="{88490507-C300-4E72-BD7D-20B830F66540}" dt="2022-03-03T15:40:42.166" v="11" actId="47"/>
        <pc:sldMkLst>
          <pc:docMk/>
          <pc:sldMk cId="2338066774" sldId="399"/>
        </pc:sldMkLst>
      </pc:sldChg>
      <pc:sldChg chg="modSp add mod">
        <pc:chgData name="Meyer Raphael (PAR-ES)" userId="79615dfe-ed48-4e74-a40f-4f7b034c1c27" providerId="ADAL" clId="{88490507-C300-4E72-BD7D-20B830F66540}" dt="2022-03-03T15:43:03.856" v="26"/>
        <pc:sldMkLst>
          <pc:docMk/>
          <pc:sldMk cId="1465574248" sldId="411"/>
        </pc:sldMkLst>
        <pc:spChg chg="mod">
          <ac:chgData name="Meyer Raphael (PAR-ES)" userId="79615dfe-ed48-4e74-a40f-4f7b034c1c27" providerId="ADAL" clId="{88490507-C300-4E72-BD7D-20B830F66540}" dt="2022-03-03T15:41:39.841" v="15"/>
          <ac:spMkLst>
            <pc:docMk/>
            <pc:sldMk cId="1465574248" sldId="411"/>
            <ac:spMk id="2" creationId="{00000000-0000-0000-0000-000000000000}"/>
          </ac:spMkLst>
        </pc:spChg>
        <pc:graphicFrameChg chg="mod">
          <ac:chgData name="Meyer Raphael (PAR-ES)" userId="79615dfe-ed48-4e74-a40f-4f7b034c1c27" providerId="ADAL" clId="{88490507-C300-4E72-BD7D-20B830F66540}" dt="2022-03-03T15:43:03.856" v="26"/>
          <ac:graphicFrameMkLst>
            <pc:docMk/>
            <pc:sldMk cId="1465574248" sldId="411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88490507-C300-4E72-BD7D-20B830F66540}" dt="2022-03-03T15:47:39.529" v="58"/>
        <pc:sldMkLst>
          <pc:docMk/>
          <pc:sldMk cId="1771571022" sldId="412"/>
        </pc:sldMkLst>
        <pc:spChg chg="mod">
          <ac:chgData name="Meyer Raphael (PAR-ES)" userId="79615dfe-ed48-4e74-a40f-4f7b034c1c27" providerId="ADAL" clId="{88490507-C300-4E72-BD7D-20B830F66540}" dt="2022-03-03T15:45:34.191" v="45"/>
          <ac:spMkLst>
            <pc:docMk/>
            <pc:sldMk cId="1771571022" sldId="41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88490507-C300-4E72-BD7D-20B830F66540}" dt="2022-03-03T15:46:02.531" v="51" actId="20577"/>
          <ac:spMkLst>
            <pc:docMk/>
            <pc:sldMk cId="1771571022" sldId="412"/>
            <ac:spMk id="6" creationId="{DAA2A1E0-2DA4-465A-B1C8-F33D2A175FA2}"/>
          </ac:spMkLst>
        </pc:spChg>
        <pc:graphicFrameChg chg="mod">
          <ac:chgData name="Meyer Raphael (PAR-ES)" userId="79615dfe-ed48-4e74-a40f-4f7b034c1c27" providerId="ADAL" clId="{88490507-C300-4E72-BD7D-20B830F66540}" dt="2022-03-03T15:47:39.529" v="58"/>
          <ac:graphicFrameMkLst>
            <pc:docMk/>
            <pc:sldMk cId="1771571022" sldId="412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88490507-C300-4E72-BD7D-20B830F66540}" dt="2022-03-03T15:44:36.590" v="44" actId="27918"/>
        <pc:sldMkLst>
          <pc:docMk/>
          <pc:sldMk cId="1929414178" sldId="413"/>
        </pc:sldMkLst>
        <pc:spChg chg="mod">
          <ac:chgData name="Meyer Raphael (PAR-ES)" userId="79615dfe-ed48-4e74-a40f-4f7b034c1c27" providerId="ADAL" clId="{88490507-C300-4E72-BD7D-20B830F66540}" dt="2022-03-03T15:43:47.890" v="27"/>
          <ac:spMkLst>
            <pc:docMk/>
            <pc:sldMk cId="1929414178" sldId="41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88490507-C300-4E72-BD7D-20B830F66540}" dt="2022-03-03T15:44:13.857" v="39" actId="20577"/>
          <ac:spMkLst>
            <pc:docMk/>
            <pc:sldMk cId="1929414178" sldId="413"/>
            <ac:spMk id="6" creationId="{DAA2A1E0-2DA4-465A-B1C8-F33D2A175FA2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434B2013-B2C4-4896-BC95-7A0C2D018EBD}"/>
    <pc:docChg chg="delSld">
      <pc:chgData name="Meyer Raphael (PAR-ES)" userId="79615dfe-ed48-4e74-a40f-4f7b034c1c27" providerId="ADAL" clId="{434B2013-B2C4-4896-BC95-7A0C2D018EBD}" dt="2022-03-03T15:14:01.612" v="0" actId="47"/>
      <pc:docMkLst>
        <pc:docMk/>
      </pc:docMkLst>
      <pc:sldChg chg="del">
        <pc:chgData name="Meyer Raphael (PAR-ES)" userId="79615dfe-ed48-4e74-a40f-4f7b034c1c27" providerId="ADAL" clId="{434B2013-B2C4-4896-BC95-7A0C2D018EBD}" dt="2022-03-03T15:14:01.612" v="0" actId="47"/>
        <pc:sldMkLst>
          <pc:docMk/>
          <pc:sldMk cId="1284291177" sldId="400"/>
        </pc:sldMkLst>
      </pc:sldChg>
      <pc:sldChg chg="del">
        <pc:chgData name="Meyer Raphael (PAR-ES)" userId="79615dfe-ed48-4e74-a40f-4f7b034c1c27" providerId="ADAL" clId="{434B2013-B2C4-4896-BC95-7A0C2D018EBD}" dt="2022-03-03T15:14:01.612" v="0" actId="47"/>
        <pc:sldMkLst>
          <pc:docMk/>
          <pc:sldMk cId="2448611044" sldId="401"/>
        </pc:sldMkLst>
      </pc:sldChg>
      <pc:sldChg chg="del">
        <pc:chgData name="Meyer Raphael (PAR-ES)" userId="79615dfe-ed48-4e74-a40f-4f7b034c1c27" providerId="ADAL" clId="{434B2013-B2C4-4896-BC95-7A0C2D018EBD}" dt="2022-03-03T15:14:01.612" v="0" actId="47"/>
        <pc:sldMkLst>
          <pc:docMk/>
          <pc:sldMk cId="272270592" sldId="402"/>
        </pc:sldMkLst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Weigel Stefan (PAR-EPS)" userId="fd3b2067-2981-4ad8-bf3a-d2e1004e4fa8" providerId="ADAL" clId="{C3F547A6-F2B8-46E2-9F8A-BB5A9F587BD1}"/>
    <pc:docChg chg="modSld">
      <pc:chgData name="Weigel Stefan (PAR-EPS)" userId="fd3b2067-2981-4ad8-bf3a-d2e1004e4fa8" providerId="ADAL" clId="{C3F547A6-F2B8-46E2-9F8A-BB5A9F587BD1}" dt="2024-02-28T13:15:27.372" v="87" actId="27918"/>
      <pc:docMkLst>
        <pc:docMk/>
      </pc:docMkLst>
      <pc:sldChg chg="modSp mod">
        <pc:chgData name="Weigel Stefan (PAR-EPS)" userId="fd3b2067-2981-4ad8-bf3a-d2e1004e4fa8" providerId="ADAL" clId="{C3F547A6-F2B8-46E2-9F8A-BB5A9F587BD1}" dt="2024-02-28T13:15:27.372" v="87" actId="27918"/>
        <pc:sldMkLst>
          <pc:docMk/>
          <pc:sldMk cId="1183644670" sldId="410"/>
        </pc:sldMkLst>
        <pc:spChg chg="mod">
          <ac:chgData name="Weigel Stefan (PAR-EPS)" userId="fd3b2067-2981-4ad8-bf3a-d2e1004e4fa8" providerId="ADAL" clId="{C3F547A6-F2B8-46E2-9F8A-BB5A9F587BD1}" dt="2024-02-28T13:05:19.881" v="76" actId="1036"/>
          <ac:spMkLst>
            <pc:docMk/>
            <pc:sldMk cId="1183644670" sldId="410"/>
            <ac:spMk id="6" creationId="{DAA2A1E0-2DA4-465A-B1C8-F33D2A175FA2}"/>
          </ac:spMkLst>
        </pc:spChg>
        <pc:graphicFrameChg chg="mod">
          <ac:chgData name="Weigel Stefan (PAR-EPS)" userId="fd3b2067-2981-4ad8-bf3a-d2e1004e4fa8" providerId="ADAL" clId="{C3F547A6-F2B8-46E2-9F8A-BB5A9F587BD1}" dt="2024-02-28T13:04:45.647" v="68"/>
          <ac:graphicFrameMkLst>
            <pc:docMk/>
            <pc:sldMk cId="1183644670" sldId="410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6AEC2C27-516B-462B-999C-6EF1FFB01B2C}"/>
    <pc:docChg chg="delSld">
      <pc:chgData name="Meyer Raphael (PAR-ES)" userId="79615dfe-ed48-4e74-a40f-4f7b034c1c27" providerId="ADAL" clId="{6AEC2C27-516B-462B-999C-6EF1FFB01B2C}" dt="2022-03-03T15:54:27.599" v="0" actId="47"/>
      <pc:docMkLst>
        <pc:docMk/>
      </pc:docMkLst>
      <pc:sldChg chg="del">
        <pc:chgData name="Meyer Raphael (PAR-ES)" userId="79615dfe-ed48-4e74-a40f-4f7b034c1c27" providerId="ADAL" clId="{6AEC2C27-516B-462B-999C-6EF1FFB01B2C}" dt="2022-03-03T15:54:27.599" v="0" actId="47"/>
        <pc:sldMkLst>
          <pc:docMk/>
          <pc:sldMk cId="1465574248" sldId="411"/>
        </pc:sldMkLst>
      </pc:sldChg>
      <pc:sldChg chg="del">
        <pc:chgData name="Meyer Raphael (PAR-ES)" userId="79615dfe-ed48-4e74-a40f-4f7b034c1c27" providerId="ADAL" clId="{6AEC2C27-516B-462B-999C-6EF1FFB01B2C}" dt="2022-03-03T15:54:27.599" v="0" actId="47"/>
        <pc:sldMkLst>
          <pc:docMk/>
          <pc:sldMk cId="1771571022" sldId="412"/>
        </pc:sldMkLst>
      </pc:sldChg>
      <pc:sldChg chg="del">
        <pc:chgData name="Meyer Raphael (PAR-ES)" userId="79615dfe-ed48-4e74-a40f-4f7b034c1c27" providerId="ADAL" clId="{6AEC2C27-516B-462B-999C-6EF1FFB01B2C}" dt="2022-03-03T15:54:27.599" v="0" actId="47"/>
        <pc:sldMkLst>
          <pc:docMk/>
          <pc:sldMk cId="1929414178" sldId="413"/>
        </pc:sldMkLst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B539623C-0D18-4ED4-94C0-AB6BD7AF6A63}"/>
    <pc:docChg chg="custSel addSld modSld">
      <pc:chgData name="Meyer Raphael (PAR-ES)" userId="79615dfe-ed48-4e74-a40f-4f7b034c1c27" providerId="ADAL" clId="{B539623C-0D18-4ED4-94C0-AB6BD7AF6A63}" dt="2022-03-03T15:11:16.556" v="96" actId="27918"/>
      <pc:docMkLst>
        <pc:docMk/>
      </pc:docMkLst>
      <pc:sldChg chg="modSp mod">
        <pc:chgData name="Meyer Raphael (PAR-ES)" userId="79615dfe-ed48-4e74-a40f-4f7b034c1c27" providerId="ADAL" clId="{B539623C-0D18-4ED4-94C0-AB6BD7AF6A63}" dt="2022-03-03T15:11:16.556" v="96" actId="27918"/>
        <pc:sldMkLst>
          <pc:docMk/>
          <pc:sldMk cId="2338066774" sldId="399"/>
        </pc:sldMkLst>
        <pc:spChg chg="mod">
          <ac:chgData name="Meyer Raphael (PAR-ES)" userId="79615dfe-ed48-4e74-a40f-4f7b034c1c27" providerId="ADAL" clId="{B539623C-0D18-4ED4-94C0-AB6BD7AF6A63}" dt="2022-03-03T15:01:27.564" v="4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01:13.476" v="35" actId="20577"/>
          <ac:spMkLst>
            <pc:docMk/>
            <pc:sldMk cId="2338066774" sldId="399"/>
            <ac:spMk id="11" creationId="{84F82B92-ACCD-41AC-8B9B-F49F946956E6}"/>
          </ac:spMkLst>
        </pc:spChg>
        <pc:graphicFrameChg chg="mod">
          <ac:chgData name="Meyer Raphael (PAR-ES)" userId="79615dfe-ed48-4e74-a40f-4f7b034c1c27" providerId="ADAL" clId="{B539623C-0D18-4ED4-94C0-AB6BD7AF6A63}" dt="2022-03-03T14:59:16.561" v="9"/>
          <ac:graphicFrameMkLst>
            <pc:docMk/>
            <pc:sldMk cId="2338066774" sldId="399"/>
            <ac:graphicFrameMk id="6" creationId="{67E5BF1A-DCFF-4431-8721-9C385B8E6F53}"/>
          </ac:graphicFrameMkLst>
        </pc:graphicFrameChg>
      </pc:sldChg>
      <pc:sldChg chg="modSp add mod">
        <pc:chgData name="Meyer Raphael (PAR-ES)" userId="79615dfe-ed48-4e74-a40f-4f7b034c1c27" providerId="ADAL" clId="{B539623C-0D18-4ED4-94C0-AB6BD7AF6A63}" dt="2022-03-03T15:07:48.347" v="61" actId="27918"/>
        <pc:sldMkLst>
          <pc:docMk/>
          <pc:sldMk cId="1284291177" sldId="400"/>
        </pc:sldMkLst>
        <pc:spChg chg="mod">
          <ac:chgData name="Meyer Raphael (PAR-ES)" userId="79615dfe-ed48-4e74-a40f-4f7b034c1c27" providerId="ADAL" clId="{B539623C-0D18-4ED4-94C0-AB6BD7AF6A63}" dt="2022-03-03T15:06:50.434" v="54" actId="20577"/>
          <ac:spMkLst>
            <pc:docMk/>
            <pc:sldMk cId="1284291177" sldId="40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07:07.484" v="57" actId="20577"/>
          <ac:spMkLst>
            <pc:docMk/>
            <pc:sldMk cId="1284291177" sldId="400"/>
            <ac:spMk id="11" creationId="{84F82B92-ACCD-41AC-8B9B-F49F946956E6}"/>
          </ac:spMkLst>
        </pc:spChg>
      </pc:sldChg>
      <pc:sldChg chg="modSp add mod">
        <pc:chgData name="Meyer Raphael (PAR-ES)" userId="79615dfe-ed48-4e74-a40f-4f7b034c1c27" providerId="ADAL" clId="{B539623C-0D18-4ED4-94C0-AB6BD7AF6A63}" dt="2022-03-03T15:09:17.377" v="77" actId="27918"/>
        <pc:sldMkLst>
          <pc:docMk/>
          <pc:sldMk cId="2448611044" sldId="401"/>
        </pc:sldMkLst>
        <pc:spChg chg="mod">
          <ac:chgData name="Meyer Raphael (PAR-ES)" userId="79615dfe-ed48-4e74-a40f-4f7b034c1c27" providerId="ADAL" clId="{B539623C-0D18-4ED4-94C0-AB6BD7AF6A63}" dt="2022-03-03T15:08:34.372" v="64" actId="20577"/>
          <ac:spMkLst>
            <pc:docMk/>
            <pc:sldMk cId="2448611044" sldId="40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09:06.268" v="73" actId="20577"/>
          <ac:spMkLst>
            <pc:docMk/>
            <pc:sldMk cId="2448611044" sldId="401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B539623C-0D18-4ED4-94C0-AB6BD7AF6A63}" dt="2022-03-03T15:09:00.237" v="67" actId="20577"/>
          <ac:spMkLst>
            <pc:docMk/>
            <pc:sldMk cId="2448611044" sldId="401"/>
            <ac:spMk id="11" creationId="{84F82B92-ACCD-41AC-8B9B-F49F946956E6}"/>
          </ac:spMkLst>
        </pc:spChg>
      </pc:sldChg>
      <pc:sldChg chg="modSp add mod">
        <pc:chgData name="Meyer Raphael (PAR-ES)" userId="79615dfe-ed48-4e74-a40f-4f7b034c1c27" providerId="ADAL" clId="{B539623C-0D18-4ED4-94C0-AB6BD7AF6A63}" dt="2022-03-03T15:10:45.084" v="93" actId="27918"/>
        <pc:sldMkLst>
          <pc:docMk/>
          <pc:sldMk cId="272270592" sldId="402"/>
        </pc:sldMkLst>
        <pc:spChg chg="mod">
          <ac:chgData name="Meyer Raphael (PAR-ES)" userId="79615dfe-ed48-4e74-a40f-4f7b034c1c27" providerId="ADAL" clId="{B539623C-0D18-4ED4-94C0-AB6BD7AF6A63}" dt="2022-03-03T15:10:01.805" v="80" actId="20577"/>
          <ac:spMkLst>
            <pc:docMk/>
            <pc:sldMk cId="272270592" sldId="40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10:34.404" v="89" actId="20577"/>
          <ac:spMkLst>
            <pc:docMk/>
            <pc:sldMk cId="272270592" sldId="402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B539623C-0D18-4ED4-94C0-AB6BD7AF6A63}" dt="2022-03-03T15:10:30.856" v="83" actId="20577"/>
          <ac:spMkLst>
            <pc:docMk/>
            <pc:sldMk cId="272270592" sldId="402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EB5DEF9F-F706-47F6-B6EB-2038FBF844C5}"/>
    <pc:docChg chg="custSel delSld modSld">
      <pc:chgData name="Meyer Raphael (PAR-ES)" userId="79615dfe-ed48-4e74-a40f-4f7b034c1c27" providerId="ADAL" clId="{EB5DEF9F-F706-47F6-B6EB-2038FBF844C5}" dt="2022-01-17T15:29:07.310" v="33" actId="47"/>
      <pc:docMkLst>
        <pc:docMk/>
      </pc:docMkLst>
      <pc:sldChg chg="del">
        <pc:chgData name="Meyer Raphael (PAR-ES)" userId="79615dfe-ed48-4e74-a40f-4f7b034c1c27" providerId="ADAL" clId="{EB5DEF9F-F706-47F6-B6EB-2038FBF844C5}" dt="2022-01-17T15:29:07.310" v="33" actId="47"/>
        <pc:sldMkLst>
          <pc:docMk/>
          <pc:sldMk cId="2505455628" sldId="394"/>
        </pc:sldMkLst>
      </pc:sldChg>
      <pc:sldChg chg="modSp mod">
        <pc:chgData name="Meyer Raphael (PAR-ES)" userId="79615dfe-ed48-4e74-a40f-4f7b034c1c27" providerId="ADAL" clId="{EB5DEF9F-F706-47F6-B6EB-2038FBF844C5}" dt="2022-01-17T15:25:25.967" v="17" actId="20577"/>
        <pc:sldMkLst>
          <pc:docMk/>
          <pc:sldMk cId="2084493369" sldId="401"/>
        </pc:sldMkLst>
        <pc:spChg chg="mod">
          <ac:chgData name="Meyer Raphael (PAR-ES)" userId="79615dfe-ed48-4e74-a40f-4f7b034c1c27" providerId="ADAL" clId="{EB5DEF9F-F706-47F6-B6EB-2038FBF844C5}" dt="2022-01-17T15:23:10.622" v="2" actId="20577"/>
          <ac:spMkLst>
            <pc:docMk/>
            <pc:sldMk cId="2084493369" sldId="40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B5DEF9F-F706-47F6-B6EB-2038FBF844C5}" dt="2022-01-17T15:24:57.509" v="14" actId="20577"/>
          <ac:spMkLst>
            <pc:docMk/>
            <pc:sldMk cId="2084493369" sldId="401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EB5DEF9F-F706-47F6-B6EB-2038FBF844C5}" dt="2022-01-17T15:25:25.967" v="17" actId="20577"/>
          <ac:spMkLst>
            <pc:docMk/>
            <pc:sldMk cId="2084493369" sldId="401"/>
            <ac:spMk id="11" creationId="{84F82B92-ACCD-41AC-8B9B-F49F946956E6}"/>
          </ac:spMkLst>
        </pc:spChg>
      </pc:sldChg>
      <pc:sldChg chg="modSp mod">
        <pc:chgData name="Meyer Raphael (PAR-ES)" userId="79615dfe-ed48-4e74-a40f-4f7b034c1c27" providerId="ADAL" clId="{EB5DEF9F-F706-47F6-B6EB-2038FBF844C5}" dt="2022-01-17T15:28:38.821" v="32" actId="20577"/>
        <pc:sldMkLst>
          <pc:docMk/>
          <pc:sldMk cId="1008431792" sldId="402"/>
        </pc:sldMkLst>
        <pc:spChg chg="mod">
          <ac:chgData name="Meyer Raphael (PAR-ES)" userId="79615dfe-ed48-4e74-a40f-4f7b034c1c27" providerId="ADAL" clId="{EB5DEF9F-F706-47F6-B6EB-2038FBF844C5}" dt="2022-01-17T15:27:38.747" v="20" actId="20577"/>
          <ac:spMkLst>
            <pc:docMk/>
            <pc:sldMk cId="1008431792" sldId="40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B5DEF9F-F706-47F6-B6EB-2038FBF844C5}" dt="2022-01-17T15:28:18.017" v="29" actId="20577"/>
          <ac:spMkLst>
            <pc:docMk/>
            <pc:sldMk cId="1008431792" sldId="402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EB5DEF9F-F706-47F6-B6EB-2038FBF844C5}" dt="2022-01-17T15:28:38.821" v="32" actId="20577"/>
          <ac:spMkLst>
            <pc:docMk/>
            <pc:sldMk cId="1008431792" sldId="402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7CDD229-2C18-4E4B-BA0E-243C39EBB4B2}"/>
    <pc:docChg chg="modSld">
      <pc:chgData name="Meyer Raphael (PAR-ES)" userId="79615dfe-ed48-4e74-a40f-4f7b034c1c27" providerId="ADAL" clId="{77CDD229-2C18-4E4B-BA0E-243C39EBB4B2}" dt="2023-02-24T11:10:15.393" v="3" actId="27918"/>
      <pc:docMkLst>
        <pc:docMk/>
      </pc:docMkLst>
      <pc:sldChg chg="mod">
        <pc:chgData name="Meyer Raphael (PAR-ES)" userId="79615dfe-ed48-4e74-a40f-4f7b034c1c27" providerId="ADAL" clId="{77CDD229-2C18-4E4B-BA0E-243C39EBB4B2}" dt="2023-02-24T11:10:15.393" v="3" actId="27918"/>
        <pc:sldMkLst>
          <pc:docMk/>
          <pc:sldMk cId="1183644670" sldId="410"/>
        </pc:sldMkLst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Weigel Stefan (PAR-EPS)" userId="fd3b2067-2981-4ad8-bf3a-d2e1004e4fa8" providerId="ADAL" clId="{03081156-EB56-4A3D-ABE7-35B5CE72FBE7}"/>
    <pc:docChg chg="modSld">
      <pc:chgData name="Weigel Stefan (PAR-EPS)" userId="fd3b2067-2981-4ad8-bf3a-d2e1004e4fa8" providerId="ADAL" clId="{03081156-EB56-4A3D-ABE7-35B5CE72FBE7}" dt="2024-04-23T12:28:17.161" v="69" actId="692"/>
      <pc:docMkLst>
        <pc:docMk/>
      </pc:docMkLst>
      <pc:sldChg chg="addSp modSp mod setBg">
        <pc:chgData name="Weigel Stefan (PAR-EPS)" userId="fd3b2067-2981-4ad8-bf3a-d2e1004e4fa8" providerId="ADAL" clId="{03081156-EB56-4A3D-ABE7-35B5CE72FBE7}" dt="2024-04-23T12:28:17.161" v="69" actId="692"/>
        <pc:sldMkLst>
          <pc:docMk/>
          <pc:sldMk cId="1183644670" sldId="410"/>
        </pc:sldMkLst>
        <pc:spChg chg="add mod">
          <ac:chgData name="Weigel Stefan (PAR-EPS)" userId="fd3b2067-2981-4ad8-bf3a-d2e1004e4fa8" providerId="ADAL" clId="{03081156-EB56-4A3D-ABE7-35B5CE72FBE7}" dt="2024-04-23T12:16:30.840" v="66" actId="20577"/>
          <ac:spMkLst>
            <pc:docMk/>
            <pc:sldMk cId="1183644670" sldId="410"/>
            <ac:spMk id="3" creationId="{82ED61E9-FF6B-5F27-7993-87873A72C27F}"/>
          </ac:spMkLst>
        </pc:spChg>
        <pc:spChg chg="mod">
          <ac:chgData name="Weigel Stefan (PAR-EPS)" userId="fd3b2067-2981-4ad8-bf3a-d2e1004e4fa8" providerId="ADAL" clId="{03081156-EB56-4A3D-ABE7-35B5CE72FBE7}" dt="2024-04-23T12:15:10.814" v="14" actId="1038"/>
          <ac:spMkLst>
            <pc:docMk/>
            <pc:sldMk cId="1183644670" sldId="410"/>
            <ac:spMk id="6" creationId="{DAA2A1E0-2DA4-465A-B1C8-F33D2A175FA2}"/>
          </ac:spMkLst>
        </pc:spChg>
        <pc:graphicFrameChg chg="mod">
          <ac:chgData name="Weigel Stefan (PAR-EPS)" userId="fd3b2067-2981-4ad8-bf3a-d2e1004e4fa8" providerId="ADAL" clId="{03081156-EB56-4A3D-ABE7-35B5CE72FBE7}" dt="2024-04-23T12:28:17.161" v="69" actId="692"/>
          <ac:graphicFrameMkLst>
            <pc:docMk/>
            <pc:sldMk cId="1183644670" sldId="410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100301511897789E-2"/>
          <c:y val="0.14093230316532473"/>
          <c:w val="0.81815777587339267"/>
          <c:h val="0.5441197370080238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Entgleisungen</c:v>
                </c:pt>
              </c:strCache>
            </c:strRef>
          </c:tx>
          <c:spPr>
            <a:solidFill>
              <a:srgbClr val="D1D1D1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C$9:$C$19</c:f>
              <c:numCache>
                <c:formatCode>#,##0</c:formatCode>
                <c:ptCount val="11"/>
                <c:pt idx="0">
                  <c:v>4</c:v>
                </c:pt>
                <c:pt idx="1">
                  <c:v>1</c:v>
                </c:pt>
                <c:pt idx="2">
                  <c:v>5</c:v>
                </c:pt>
                <c:pt idx="3">
                  <c:v>0</c:v>
                </c:pt>
                <c:pt idx="4">
                  <c:v>4</c:v>
                </c:pt>
                <c:pt idx="5">
                  <c:v>4</c:v>
                </c:pt>
                <c:pt idx="6">
                  <c:v>2</c:v>
                </c:pt>
                <c:pt idx="7">
                  <c:v>1</c:v>
                </c:pt>
                <c:pt idx="8">
                  <c:v>1</c:v>
                </c:pt>
                <c:pt idx="9">
                  <c:v>4</c:v>
                </c:pt>
                <c:pt idx="1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42-4D6D-BF9A-F638ED83FF0E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Zusammenstösse mit Beteiligung von Zugfahrten</c:v>
                </c:pt>
              </c:strCache>
            </c:strRef>
          </c:tx>
          <c:spPr>
            <a:solidFill>
              <a:srgbClr val="A7A7A7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D$9:$D$19</c:f>
              <c:numCache>
                <c:formatCode>#,##0</c:formatCode>
                <c:ptCount val="11"/>
                <c:pt idx="0">
                  <c:v>18</c:v>
                </c:pt>
                <c:pt idx="1">
                  <c:v>1</c:v>
                </c:pt>
                <c:pt idx="2">
                  <c:v>4</c:v>
                </c:pt>
                <c:pt idx="3">
                  <c:v>5</c:v>
                </c:pt>
                <c:pt idx="4">
                  <c:v>6</c:v>
                </c:pt>
                <c:pt idx="5">
                  <c:v>7</c:v>
                </c:pt>
                <c:pt idx="6">
                  <c:v>5</c:v>
                </c:pt>
                <c:pt idx="7">
                  <c:v>10</c:v>
                </c:pt>
                <c:pt idx="8">
                  <c:v>11</c:v>
                </c:pt>
                <c:pt idx="9">
                  <c:v>10</c:v>
                </c:pt>
                <c:pt idx="10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542-4D6D-BF9A-F638ED83FF0E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Unfälle an Bahnübergängen</c:v>
                </c:pt>
              </c:strCache>
            </c:strRef>
          </c:tx>
          <c:spPr>
            <a:solidFill>
              <a:srgbClr val="626262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E$9:$E$19</c:f>
              <c:numCache>
                <c:formatCode>#,##0</c:formatCode>
                <c:ptCount val="11"/>
                <c:pt idx="0">
                  <c:v>17</c:v>
                </c:pt>
                <c:pt idx="1">
                  <c:v>11</c:v>
                </c:pt>
                <c:pt idx="2">
                  <c:v>8</c:v>
                </c:pt>
                <c:pt idx="3">
                  <c:v>10</c:v>
                </c:pt>
                <c:pt idx="4">
                  <c:v>12</c:v>
                </c:pt>
                <c:pt idx="5">
                  <c:v>15</c:v>
                </c:pt>
                <c:pt idx="6">
                  <c:v>15</c:v>
                </c:pt>
                <c:pt idx="7">
                  <c:v>12</c:v>
                </c:pt>
                <c:pt idx="8">
                  <c:v>11</c:v>
                </c:pt>
                <c:pt idx="9">
                  <c:v>13</c:v>
                </c:pt>
                <c:pt idx="10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542-4D6D-BF9A-F638ED83FF0E}"/>
            </c:ext>
          </c:extLst>
        </c:ser>
        <c:ser>
          <c:idx val="3"/>
          <c:order val="3"/>
          <c:tx>
            <c:strRef>
              <c:f>data!$F$8</c:f>
              <c:strCache>
                <c:ptCount val="1"/>
                <c:pt idx="0">
                  <c:v>Unfälle von Reisenden oder Dritten im Zugang zur Bahn</c:v>
                </c:pt>
              </c:strCache>
            </c:strRef>
          </c:tx>
          <c:spPr>
            <a:solidFill>
              <a:srgbClr val="444444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F$9:$F$19</c:f>
              <c:numCache>
                <c:formatCode>#,##0</c:formatCode>
                <c:ptCount val="11"/>
                <c:pt idx="0">
                  <c:v>5</c:v>
                </c:pt>
                <c:pt idx="1">
                  <c:v>5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1</c:v>
                </c:pt>
                <c:pt idx="6">
                  <c:v>1</c:v>
                </c:pt>
                <c:pt idx="7">
                  <c:v>4</c:v>
                </c:pt>
                <c:pt idx="8">
                  <c:v>4</c:v>
                </c:pt>
                <c:pt idx="9">
                  <c:v>3</c:v>
                </c:pt>
                <c:pt idx="10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542-4D6D-BF9A-F638ED83FF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2657536"/>
        <c:axId val="92659072"/>
      </c:barChart>
      <c:lineChart>
        <c:grouping val="standard"/>
        <c:varyColors val="0"/>
        <c:ser>
          <c:idx val="4"/>
          <c:order val="4"/>
          <c:tx>
            <c:strRef>
              <c:f>data!$G$8</c:f>
              <c:strCache>
                <c:ptCount val="1"/>
                <c:pt idx="0">
                  <c:v>Zusammenstösse mit Beteiligung von Zugfahrten pro Million Trassenkilometer</c:v>
                </c:pt>
              </c:strCache>
            </c:strRef>
          </c:tx>
          <c:spPr>
            <a:ln>
              <a:solidFill>
                <a:srgbClr val="EB0000"/>
              </a:solidFill>
            </a:ln>
          </c:spPr>
          <c:marker>
            <c:symbol val="none"/>
          </c:marker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G$9:$G$19</c:f>
              <c:numCache>
                <c:formatCode>#,##0</c:formatCode>
                <c:ptCount val="11"/>
                <c:pt idx="0">
                  <c:v>0.11</c:v>
                </c:pt>
                <c:pt idx="1">
                  <c:v>6.0000000000000001E-3</c:v>
                </c:pt>
                <c:pt idx="2">
                  <c:v>0.02</c:v>
                </c:pt>
                <c:pt idx="3">
                  <c:v>0.03</c:v>
                </c:pt>
                <c:pt idx="4">
                  <c:v>0.03</c:v>
                </c:pt>
                <c:pt idx="5">
                  <c:v>0.04</c:v>
                </c:pt>
                <c:pt idx="6">
                  <c:v>0.03</c:v>
                </c:pt>
                <c:pt idx="7">
                  <c:v>0.06</c:v>
                </c:pt>
                <c:pt idx="8">
                  <c:v>0.06</c:v>
                </c:pt>
                <c:pt idx="9">
                  <c:v>0.05</c:v>
                </c:pt>
                <c:pt idx="10">
                  <c:v>7.000000000000000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542-4D6D-BF9A-F638ED83FF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1084544"/>
        <c:axId val="121083008"/>
      </c:lineChart>
      <c:catAx>
        <c:axId val="926575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chemeClr val="tx1">
                <a:lumMod val="85000"/>
                <a:lumOff val="15000"/>
              </a:schemeClr>
            </a:solidFill>
          </a:ln>
        </c:spPr>
        <c:txPr>
          <a:bodyPr rot="0" vert="horz"/>
          <a:lstStyle/>
          <a:p>
            <a:pPr>
              <a:defRPr/>
            </a:pPr>
            <a:endParaRPr lang="de-DE"/>
          </a:p>
        </c:txPr>
        <c:crossAx val="92659072"/>
        <c:crosses val="autoZero"/>
        <c:auto val="1"/>
        <c:lblAlgn val="ctr"/>
        <c:lblOffset val="100"/>
        <c:noMultiLvlLbl val="0"/>
      </c:catAx>
      <c:valAx>
        <c:axId val="92659072"/>
        <c:scaling>
          <c:orientation val="minMax"/>
          <c:max val="30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92657536"/>
        <c:crosses val="autoZero"/>
        <c:crossBetween val="between"/>
        <c:majorUnit val="10"/>
      </c:valAx>
      <c:valAx>
        <c:axId val="121083008"/>
        <c:scaling>
          <c:orientation val="minMax"/>
          <c:max val="0.30000000000000004"/>
        </c:scaling>
        <c:delete val="0"/>
        <c:axPos val="r"/>
        <c:numFmt formatCode="#,##0.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21084544"/>
        <c:crosses val="max"/>
        <c:crossBetween val="between"/>
        <c:majorUnit val="0.1"/>
      </c:valAx>
      <c:catAx>
        <c:axId val="12108454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21083008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4.9611676322876302E-2"/>
          <c:y val="0.74867238373776945"/>
          <c:w val="0.54109199401339414"/>
          <c:h val="0.21821054966693879"/>
        </c:manualLayout>
      </c:layout>
      <c:overlay val="0"/>
      <c:txPr>
        <a:bodyPr/>
        <a:lstStyle/>
        <a:p>
          <a:pPr>
            <a:defRPr sz="11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0096</cdr:x>
      <cdr:y>0.07302</cdr:y>
    </cdr:from>
    <cdr:to>
      <cdr:x>0.05127</cdr:x>
      <cdr:y>0.11809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9830" y="392032"/>
          <a:ext cx="515132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/>
            <a:t>Anzahl </a:t>
          </a:r>
          <a:endParaRPr lang="de-CH" sz="1100" dirty="0">
            <a:latin typeface="Arial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7858</cdr:x>
      <cdr:y>0.07302</cdr:y>
    </cdr:from>
    <cdr:to>
      <cdr:x>0.90014</cdr:x>
      <cdr:y>0.11809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8046246" y="392032"/>
          <a:ext cx="1170760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r"/>
          <a:r>
            <a:rPr lang="de-CH" sz="1100" dirty="0"/>
            <a:t>Anzahl/Mio. </a:t>
          </a:r>
          <a:r>
            <a:rPr lang="de-CH" sz="1100" dirty="0" err="1"/>
            <a:t>Trkm</a:t>
          </a:r>
          <a:r>
            <a:rPr lang="de-CH" sz="1100" dirty="0"/>
            <a:t> </a:t>
          </a:r>
          <a:endParaRPr lang="de-CH" sz="110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3.05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86.xml"/><Relationship Id="rId1" Type="http://schemas.openxmlformats.org/officeDocument/2006/relationships/tags" Target="../tags/tag3.xml"/><Relationship Id="rId6" Type="http://schemas.openxmlformats.org/officeDocument/2006/relationships/chart" Target="../charts/chart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D7DC650-0E20-4A16-BD8F-2BD10EC3DB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2" imgH="353" progId="TCLayout.ActiveDocument.1">
                  <p:embed/>
                </p:oleObj>
              </mc:Choice>
              <mc:Fallback>
                <p:oleObj name="think-cell Folie" r:id="rId4" imgW="352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D7DC650-0E20-4A16-BD8F-2BD10EC3D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Eisenbahnbetriebsunfälle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509506915"/>
              </p:ext>
            </p:extLst>
          </p:nvPr>
        </p:nvGraphicFramePr>
        <p:xfrm>
          <a:off x="1487487" y="1489166"/>
          <a:ext cx="10239525" cy="53688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DAA2A1E0-2DA4-465A-B1C8-F33D2A175F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86173" y="6477414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82ED61E9-FF6B-5F27-7993-87873A72C27F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Unfälle auf dem Streckennetz der Infrastruktur SBB.</a:t>
            </a:r>
          </a:p>
        </p:txBody>
      </p:sp>
    </p:spTree>
    <p:extLst>
      <p:ext uri="{BB962C8B-B14F-4D97-AF65-F5344CB8AC3E}">
        <p14:creationId xmlns:p14="http://schemas.microsoft.com/office/powerpoint/2010/main" val="11836446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schemas.microsoft.com/office/2006/metadata/properties"/>
    <ds:schemaRef ds:uri="http://purl.org/dc/terms/"/>
    <ds:schemaRef ds:uri="96e82a89-ba48-4728-b345-cf206dbec8f1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2f5c8543-cf23-4718-a3b8-32b0a91d511a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6153BE9F-146D-4148-967A-8AC7616F10C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5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Eisenbahnbetriebsunfälle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isenbahnbetriebsunfälle.</dc:title>
  <dc:creator>Meyer Raphael (KOM-PGA-VSF)</dc:creator>
  <cp:lastModifiedBy>Stefan Weigel (PAR-EPS)</cp:lastModifiedBy>
  <cp:revision>56</cp:revision>
  <dcterms:created xsi:type="dcterms:W3CDTF">2020-09-30T11:00:09Z</dcterms:created>
  <dcterms:modified xsi:type="dcterms:W3CDTF">2024-05-03T12:18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